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2" r:id="rId4"/>
  </p:sldMasterIdLst>
  <p:notesMasterIdLst>
    <p:notesMasterId r:id="rId9"/>
  </p:notesMasterIdLst>
  <p:sldIdLst>
    <p:sldId id="297" r:id="rId5"/>
    <p:sldId id="300" r:id="rId6"/>
    <p:sldId id="304" r:id="rId7"/>
    <p:sldId id="301" r:id="rId8"/>
  </p:sldIdLst>
  <p:sldSz cx="9144000" cy="6858000" type="screen4x3"/>
  <p:notesSz cx="6735763" cy="9866313"/>
  <p:custDataLst>
    <p:tags r:id="rId10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櫻井 優斗" initials="櫻井" lastIdx="2" clrIdx="0">
    <p:extLst>
      <p:ext uri="{19B8F6BF-5375-455C-9EA6-DF929625EA0E}">
        <p15:presenceInfo xmlns:p15="http://schemas.microsoft.com/office/powerpoint/2012/main" userId="S-1-5-21-603612327-3047553966-3616396257-471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33"/>
    <a:srgbClr val="009900"/>
    <a:srgbClr val="00FF00"/>
    <a:srgbClr val="0000FF"/>
    <a:srgbClr val="33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381" autoAdjust="0"/>
    <p:restoredTop sz="94731" autoAdjust="0"/>
  </p:normalViewPr>
  <p:slideViewPr>
    <p:cSldViewPr>
      <p:cViewPr varScale="1">
        <p:scale>
          <a:sx n="67" d="100"/>
          <a:sy n="67" d="100"/>
        </p:scale>
        <p:origin x="1374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4" y="0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r">
              <a:defRPr sz="1200"/>
            </a:lvl1pPr>
          </a:lstStyle>
          <a:p>
            <a:fld id="{AED324DB-82CF-4A99-93A1-97318DDE2051}" type="datetimeFigureOut">
              <a:rPr kumimoji="1" lang="ja-JP" altLang="en-US" smtClean="0"/>
              <a:t>2025/10/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3950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3" tIns="45702" rIns="91403" bIns="45702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03" tIns="45702" rIns="91403" bIns="45702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4" y="9371285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r">
              <a:defRPr sz="1200"/>
            </a:lvl1pPr>
          </a:lstStyle>
          <a:p>
            <a:fld id="{687E92C2-FE68-4557-965C-556BB6C4EB93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21094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7E92C2-FE68-4557-965C-556BB6C4EB93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817483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7E92C2-FE68-4557-965C-556BB6C4EB93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027575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46AAE-E62E-4615-B6FD-23EFF162837F}" type="datetime1">
              <a:rPr kumimoji="1" lang="ja-JP" altLang="fr-FR" smtClean="0"/>
              <a:t>2025/10/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64960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731C-CFA5-4AE8-B1EA-B87E8A14DF44}" type="datetime1">
              <a:rPr kumimoji="1" lang="ja-JP" altLang="fr-FR" smtClean="0"/>
              <a:t>2025/10/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13882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9E1A73-6C3A-444A-8827-1A10F032311F}" type="datetime1">
              <a:rPr kumimoji="1" lang="ja-JP" altLang="fr-FR" smtClean="0"/>
              <a:t>2025/10/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67657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7687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3" imgH="493" progId="TCLayout.ActiveDocument.1">
                  <p:embed/>
                </p:oleObj>
              </mc:Choice>
              <mc:Fallback>
                <p:oleObj name="think-cell Folie" r:id="rId3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702119-C271-44F5-9D5E-A576701CEBA5}" type="datetime1">
              <a:rPr kumimoji="1" lang="ja-JP" altLang="fr-FR" smtClean="0"/>
              <a:t>2025/10/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59770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FDDB-8FB2-4C49-A6E7-DC318DBBC169}" type="datetime1">
              <a:rPr kumimoji="1" lang="ja-JP" altLang="fr-FR" smtClean="0"/>
              <a:t>2025/10/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397406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EEF0A-E870-4B0A-9F91-D0CB075B1967}" type="datetime1">
              <a:rPr kumimoji="1" lang="ja-JP" altLang="fr-FR" smtClean="0"/>
              <a:t>2025/10/6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11429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573C1-B549-41E3-B7A6-734780ABE747}" type="datetime1">
              <a:rPr kumimoji="1" lang="ja-JP" altLang="fr-FR" smtClean="0"/>
              <a:t>2025/10/6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1287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BEBBAD-2A1F-4B46-993D-4B8C70860F06}" type="datetime1">
              <a:rPr kumimoji="1" lang="ja-JP" altLang="fr-FR" smtClean="0"/>
              <a:t>2025/10/6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29038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0A558-D9AA-4E93-B8C0-3FAB12457AEB}" type="datetime1">
              <a:rPr kumimoji="1" lang="ja-JP" altLang="fr-FR" smtClean="0"/>
              <a:t>2025/10/6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84653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77EC1B-E2AC-4129-943E-B9AC20FC19C8}" type="datetime1">
              <a:rPr kumimoji="1" lang="ja-JP" altLang="fr-FR" smtClean="0"/>
              <a:t>2025/10/6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18162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A303F-813C-44AB-A188-3EEB54391537}" type="datetime1">
              <a:rPr kumimoji="1" lang="ja-JP" altLang="fr-FR" smtClean="0"/>
              <a:t>2025/10/6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037164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8468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93" imgH="493" progId="TCLayout.ActiveDocument.1">
                  <p:embed/>
                </p:oleObj>
              </mc:Choice>
              <mc:Fallback>
                <p:oleObj name="think-cell Folie" r:id="rId14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B446FD-D62F-4F2E-8C6A-9DABF211BB28}" type="datetime1">
              <a:rPr kumimoji="1" lang="ja-JP" altLang="fr-FR" smtClean="0"/>
              <a:t>2025/10/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3834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mailto:jmprigent@oica.net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93" imgH="493" progId="TCLayout.ActiveDocument.1">
                  <p:embed/>
                </p:oleObj>
              </mc:Choice>
              <mc:Fallback>
                <p:oleObj name="think-cell Folie" r:id="rId5" imgW="493" imgH="49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5364088" y="116632"/>
            <a:ext cx="35283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formal document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GRE-93-</a:t>
            </a:r>
            <a:r>
              <a:rPr lang="en-US" sz="1200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XX</a:t>
            </a:r>
            <a:endParaRPr lang="en-US" sz="1200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93</a:t>
            </a:r>
            <a:r>
              <a:rPr lang="en-US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GRE, 21-23 October 2025 </a:t>
            </a: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agenda item 6.(a) </a:t>
            </a:r>
          </a:p>
        </p:txBody>
      </p:sp>
      <p:sp>
        <p:nvSpPr>
          <p:cNvPr id="10" name="ZoneTexte 3"/>
          <p:cNvSpPr txBox="1"/>
          <p:nvPr/>
        </p:nvSpPr>
        <p:spPr>
          <a:xfrm>
            <a:off x="221020" y="162798"/>
            <a:ext cx="35283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ubmitted by the experts of TF-LUPC</a:t>
            </a:r>
          </a:p>
        </p:txBody>
      </p:sp>
      <p:sp>
        <p:nvSpPr>
          <p:cNvPr id="11" name="Titre 1"/>
          <p:cNvSpPr>
            <a:spLocks noGrp="1"/>
          </p:cNvSpPr>
          <p:nvPr>
            <p:ph type="ctrTitle"/>
          </p:nvPr>
        </p:nvSpPr>
        <p:spPr>
          <a:xfrm>
            <a:off x="395536" y="1268760"/>
            <a:ext cx="8496944" cy="4464496"/>
          </a:xfrm>
        </p:spPr>
        <p:txBody>
          <a:bodyPr/>
          <a:lstStyle/>
          <a:p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 - LUPC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Lamp Under Parked Conditions)</a:t>
            </a:r>
            <a:br>
              <a:rPr lang="en-GB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report to GRE-93</a:t>
            </a:r>
            <a:b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25</a:t>
            </a:r>
            <a:endParaRPr lang="en-GB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98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5" y="1196752"/>
            <a:ext cx="8640001" cy="325012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lvl="1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he TF had two meetings since GRE 92</a:t>
            </a:r>
            <a:r>
              <a:rPr lang="en-GB" baseline="300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nd</a:t>
            </a:r>
            <a:r>
              <a:rPr lang="en-GB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session:</a:t>
            </a:r>
          </a:p>
          <a:p>
            <a:pPr marL="1073150" lvl="1" indent="0" algn="just">
              <a:spcAft>
                <a:spcPts val="1200"/>
              </a:spcAft>
              <a:buSzPct val="75000"/>
              <a:buNone/>
            </a:pPr>
            <a:r>
              <a:rPr lang="en-GB" sz="24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#7 : 12</a:t>
            </a:r>
            <a:r>
              <a:rPr lang="en-GB" sz="2400" baseline="300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h</a:t>
            </a:r>
            <a:r>
              <a:rPr lang="en-GB" sz="24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June 2025</a:t>
            </a:r>
          </a:p>
          <a:p>
            <a:pPr marL="1073150" lvl="1" indent="0" algn="just">
              <a:spcAft>
                <a:spcPts val="1200"/>
              </a:spcAft>
              <a:buSzPct val="75000"/>
              <a:buNone/>
            </a:pPr>
            <a:r>
              <a:rPr lang="en-GB" sz="24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#8 : 25-26</a:t>
            </a:r>
            <a:r>
              <a:rPr lang="en-GB" sz="2400" baseline="300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GB" sz="24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September 2025</a:t>
            </a:r>
          </a:p>
          <a:p>
            <a:pPr lvl="1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TF has discussed a first draft during the 8</a:t>
            </a:r>
            <a:r>
              <a:rPr lang="en-GB" baseline="300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ession and the result is shown in informal document GRE-93-</a:t>
            </a:r>
            <a:r>
              <a:rPr lang="en-GB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X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based on LUPC-08-02-Rev.1).</a:t>
            </a: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323528" y="2606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LUPC - Status Repor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02080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64D244-D575-564F-7168-50E4B2FEBE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FB07A0E-2954-04A0-FBDB-C7CCF9C7F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51309"/>
            <a:ext cx="8229600" cy="4525963"/>
          </a:xfrm>
        </p:spPr>
        <p:txBody>
          <a:bodyPr>
            <a:normAutofit/>
          </a:bodyPr>
          <a:lstStyle/>
          <a:p>
            <a:r>
              <a:rPr lang="en-GB" noProof="0" dirty="0"/>
              <a:t>GRE Experts are requested for some feedback on the informal document, especially on paragraphs</a:t>
            </a:r>
            <a:r>
              <a:rPr lang="en-GB" dirty="0"/>
              <a:t> with square-brackets/comments</a:t>
            </a:r>
            <a:r>
              <a:rPr lang="en-GB" noProof="0" dirty="0"/>
              <a:t>.</a:t>
            </a:r>
          </a:p>
          <a:p>
            <a:endParaRPr lang="en-GB" noProof="0" dirty="0"/>
          </a:p>
          <a:p>
            <a:r>
              <a:rPr lang="fr-FR" dirty="0"/>
              <a:t>The </a:t>
            </a:r>
            <a:r>
              <a:rPr lang="en-GB" noProof="0" dirty="0"/>
              <a:t>next session is planned </a:t>
            </a:r>
            <a:r>
              <a:rPr lang="fr-FR" dirty="0"/>
              <a:t>on the </a:t>
            </a:r>
            <a:r>
              <a:rPr lang="en-GB" dirty="0"/>
              <a:t>15</a:t>
            </a:r>
            <a:r>
              <a:rPr lang="en-GB" baseline="30000" dirty="0"/>
              <a:t>th</a:t>
            </a:r>
            <a:r>
              <a:rPr lang="en-GB" dirty="0"/>
              <a:t> of January 2026 in OICA office and online</a:t>
            </a:r>
            <a:r>
              <a:rPr lang="fr-FR" dirty="0"/>
              <a:t>.</a:t>
            </a:r>
          </a:p>
          <a:p>
            <a:endParaRPr lang="fr-FR" dirty="0"/>
          </a:p>
          <a:p>
            <a:endParaRPr lang="fr-FR" dirty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46D556C-3C15-7798-B192-D218A617F7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3</a:t>
            </a:fld>
            <a:endParaRPr kumimoji="1" lang="ja-JP" altLang="en-US" dirty="0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498DCCB2-BACB-0D26-6363-51A13CC29A41}"/>
              </a:ext>
            </a:extLst>
          </p:cNvPr>
          <p:cNvSpPr txBox="1">
            <a:spLocks/>
          </p:cNvSpPr>
          <p:nvPr/>
        </p:nvSpPr>
        <p:spPr bwMode="auto">
          <a:xfrm>
            <a:off x="323528" y="2606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LUP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7068023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DEBC894-3E82-9F04-FCEE-13FF648F6F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4525963"/>
          </a:xfrm>
        </p:spPr>
        <p:txBody>
          <a:bodyPr>
            <a:normAutofit lnSpcReduction="10000"/>
          </a:bodyPr>
          <a:lstStyle/>
          <a:p>
            <a:r>
              <a:rPr lang="en-GB" noProof="0" dirty="0"/>
              <a:t>A formal document (depending on progress) is planned for submission to GRE in April 2026, to be in line with the 10 series of amendments package.</a:t>
            </a:r>
          </a:p>
          <a:p>
            <a:pPr marL="0" indent="0">
              <a:buNone/>
            </a:pPr>
            <a:endParaRPr lang="en-GB" noProof="0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noProof="0" dirty="0"/>
          </a:p>
          <a:p>
            <a:pPr marL="0" indent="0">
              <a:buNone/>
            </a:pPr>
            <a:r>
              <a:rPr lang="fr-FR" sz="2400" dirty="0"/>
              <a:t>In case of questions or inputs, </a:t>
            </a:r>
            <a:r>
              <a:rPr lang="en-GB" sz="2400" noProof="0" dirty="0"/>
              <a:t>please contact the TF secretary</a:t>
            </a:r>
            <a:r>
              <a:rPr lang="fr-FR" sz="2400" dirty="0"/>
              <a:t>: </a:t>
            </a:r>
            <a:r>
              <a:rPr lang="fr-FR" sz="2400" dirty="0">
                <a:hlinkClick r:id="rId2"/>
              </a:rPr>
              <a:t>jmprigent@oica.net</a:t>
            </a:r>
            <a:r>
              <a:rPr lang="fr-FR" sz="2400" dirty="0"/>
              <a:t>. </a:t>
            </a:r>
          </a:p>
          <a:p>
            <a:endParaRPr lang="en-GB" noProof="0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D25C84B-AF42-AD52-0902-5D9133539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4</a:t>
            </a:fld>
            <a:endParaRPr kumimoji="1" lang="ja-JP" altLang="en-US" dirty="0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3AD5DC26-0D6F-FFBB-000C-7001D9999A6F}"/>
              </a:ext>
            </a:extLst>
          </p:cNvPr>
          <p:cNvSpPr txBox="1">
            <a:spLocks/>
          </p:cNvSpPr>
          <p:nvPr/>
        </p:nvSpPr>
        <p:spPr bwMode="auto">
          <a:xfrm>
            <a:off x="323528" y="2606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LUP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41304627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_T8aLaQFuWPAz4qsxqwA"/>
</p:tagLst>
</file>

<file path=ppt/theme/theme1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9" ma:contentTypeDescription="Create a new document." ma:contentTypeScope="" ma:versionID="957983f112ff70deb4ba3514eaba81b6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226e8c697896011a9f0e61e90df53f9c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2C6D9F1-770D-4C44-8224-60C7033411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4EBBAD6-1CA3-4FD1-B62B-2F0AABDF3EF0}">
  <ds:schemaRefs>
    <ds:schemaRef ds:uri="acccb6d4-dbe5-46d2-b4d3-5733603d8cc6"/>
    <ds:schemaRef ds:uri="985ec44e-1bab-4c0b-9df0-6ba128686fc9"/>
    <ds:schemaRef ds:uri="http://schemas.microsoft.com/office/infopath/2007/PartnerControls"/>
    <ds:schemaRef ds:uri="4b4a1c0d-4a69-4996-a84a-fc699b9f49de"/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3CD3674-38FB-4E37-8197-8F6E091D4AFB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f30fc12-c89a-4829-a476-5bf9e2086332}" enabled="1" method="Privileged" siteId="{d6b0bbee-7cd9-4d60-bce6-4a67b543e2ae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2</TotalTime>
  <Words>193</Words>
  <Application>Microsoft Office PowerPoint</Application>
  <PresentationFormat>Affichage à l'écran (4:3)</PresentationFormat>
  <Paragraphs>26</Paragraphs>
  <Slides>4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9" baseType="lpstr">
      <vt:lpstr>Arial</vt:lpstr>
      <vt:lpstr>Calibri</vt:lpstr>
      <vt:lpstr>Wingdings</vt:lpstr>
      <vt:lpstr>Office ​​テーマ</vt:lpstr>
      <vt:lpstr>think-cell Folie</vt:lpstr>
      <vt:lpstr>TF - LUPC (Lamp Under Parked Conditions)  Status report to GRE-93 October 2025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Report WG# to ISO/TC22/SC32 Month dd, 20yy</dc:title>
  <dc:creator>jsae</dc:creator>
  <cp:lastModifiedBy>Jean-Marc Prigent</cp:lastModifiedBy>
  <cp:revision>537</cp:revision>
  <cp:lastPrinted>2022-04-12T01:08:27Z</cp:lastPrinted>
  <dcterms:created xsi:type="dcterms:W3CDTF">2014-08-07T00:59:03Z</dcterms:created>
  <dcterms:modified xsi:type="dcterms:W3CDTF">2025-10-06T08:55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MSIP_Label_2fd53d93-3f4c-4b90-b511-bd6bdbb4fba9_Enabled">
    <vt:lpwstr>true</vt:lpwstr>
  </property>
  <property fmtid="{D5CDD505-2E9C-101B-9397-08002B2CF9AE}" pid="4" name="MSIP_Label_2fd53d93-3f4c-4b90-b511-bd6bdbb4fba9_SetDate">
    <vt:lpwstr>2021-02-11T07:47:10Z</vt:lpwstr>
  </property>
  <property fmtid="{D5CDD505-2E9C-101B-9397-08002B2CF9AE}" pid="5" name="MSIP_Label_2fd53d93-3f4c-4b90-b511-bd6bdbb4fba9_Method">
    <vt:lpwstr>Standard</vt:lpwstr>
  </property>
  <property fmtid="{D5CDD505-2E9C-101B-9397-08002B2CF9AE}" pid="6" name="MSIP_Label_2fd53d93-3f4c-4b90-b511-bd6bdbb4fba9_Name">
    <vt:lpwstr>2fd53d93-3f4c-4b90-b511-bd6bdbb4fba9</vt:lpwstr>
  </property>
  <property fmtid="{D5CDD505-2E9C-101B-9397-08002B2CF9AE}" pid="7" name="MSIP_Label_2fd53d93-3f4c-4b90-b511-bd6bdbb4fba9_SiteId">
    <vt:lpwstr>d852d5cd-724c-4128-8812-ffa5db3f8507</vt:lpwstr>
  </property>
  <property fmtid="{D5CDD505-2E9C-101B-9397-08002B2CF9AE}" pid="8" name="MSIP_Label_2fd53d93-3f4c-4b90-b511-bd6bdbb4fba9_ActionId">
    <vt:lpwstr>862f2ed1-b439-4e8f-a5fb-009d67eae554</vt:lpwstr>
  </property>
  <property fmtid="{D5CDD505-2E9C-101B-9397-08002B2CF9AE}" pid="9" name="MSIP_Label_2fd53d93-3f4c-4b90-b511-bd6bdbb4fba9_ContentBits">
    <vt:lpwstr>0</vt:lpwstr>
  </property>
  <property fmtid="{D5CDD505-2E9C-101B-9397-08002B2CF9AE}" pid="10" name="ContentTypeId">
    <vt:lpwstr>0x0101003B8422D08C252547BB1CFA7F78E2CB83</vt:lpwstr>
  </property>
  <property fmtid="{D5CDD505-2E9C-101B-9397-08002B2CF9AE}" pid="11" name="MSIP_Label_7f30fc12-c89a-4829-a476-5bf9e2086332_Enabled">
    <vt:lpwstr>true</vt:lpwstr>
  </property>
  <property fmtid="{D5CDD505-2E9C-101B-9397-08002B2CF9AE}" pid="12" name="MSIP_Label_7f30fc12-c89a-4829-a476-5bf9e2086332_SetDate">
    <vt:lpwstr>2022-04-01T11:53:19Z</vt:lpwstr>
  </property>
  <property fmtid="{D5CDD505-2E9C-101B-9397-08002B2CF9AE}" pid="13" name="MSIP_Label_7f30fc12-c89a-4829-a476-5bf9e2086332_Method">
    <vt:lpwstr>Privileged</vt:lpwstr>
  </property>
  <property fmtid="{D5CDD505-2E9C-101B-9397-08002B2CF9AE}" pid="14" name="MSIP_Label_7f30fc12-c89a-4829-a476-5bf9e2086332_Name">
    <vt:lpwstr>Not protected (Anyone)_0</vt:lpwstr>
  </property>
  <property fmtid="{D5CDD505-2E9C-101B-9397-08002B2CF9AE}" pid="15" name="MSIP_Label_7f30fc12-c89a-4829-a476-5bf9e2086332_SiteId">
    <vt:lpwstr>d6b0bbee-7cd9-4d60-bce6-4a67b543e2ae</vt:lpwstr>
  </property>
  <property fmtid="{D5CDD505-2E9C-101B-9397-08002B2CF9AE}" pid="16" name="MSIP_Label_7f30fc12-c89a-4829-a476-5bf9e2086332_ActionId">
    <vt:lpwstr>5aeabe18-2baf-4ad6-a3a6-0075c4e1c5f5</vt:lpwstr>
  </property>
  <property fmtid="{D5CDD505-2E9C-101B-9397-08002B2CF9AE}" pid="17" name="MSIP_Label_7f30fc12-c89a-4829-a476-5bf9e2086332_ContentBits">
    <vt:lpwstr>0</vt:lpwstr>
  </property>
  <property fmtid="{D5CDD505-2E9C-101B-9397-08002B2CF9AE}" pid="18" name="MediaServiceImageTags">
    <vt:lpwstr/>
  </property>
  <property fmtid="{D5CDD505-2E9C-101B-9397-08002B2CF9AE}" pid="19" name="gba66df640194346a5267c50f24d4797">
    <vt:lpwstr/>
  </property>
  <property fmtid="{D5CDD505-2E9C-101B-9397-08002B2CF9AE}" pid="20" name="Office_x0020_of_x0020_Origin">
    <vt:lpwstr/>
  </property>
  <property fmtid="{D5CDD505-2E9C-101B-9397-08002B2CF9AE}" pid="21" name="Office of Origin">
    <vt:lpwstr/>
  </property>
</Properties>
</file>